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3" r:id="rId6"/>
    <p:sldMasterId id="2147483706" r:id="rId7"/>
    <p:sldMasterId id="2147483715" r:id="rId8"/>
  </p:sldMasterIdLst>
  <p:notesMasterIdLst>
    <p:notesMasterId r:id="rId16"/>
  </p:notesMasterIdLst>
  <p:handoutMasterIdLst>
    <p:handoutMasterId r:id="rId17"/>
  </p:handoutMasterIdLst>
  <p:sldIdLst>
    <p:sldId id="2147474688" r:id="rId9"/>
    <p:sldId id="2147474690" r:id="rId10"/>
    <p:sldId id="2147474692" r:id="rId11"/>
    <p:sldId id="2147474693" r:id="rId12"/>
    <p:sldId id="2147474691" r:id="rId13"/>
    <p:sldId id="2147474695" r:id="rId14"/>
    <p:sldId id="2147474694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1670C8"/>
    <a:srgbClr val="58AEFB"/>
    <a:srgbClr val="F4B084"/>
    <a:srgbClr val="FFC24D"/>
    <a:srgbClr val="FF7370"/>
    <a:srgbClr val="C4FF4F"/>
    <a:srgbClr val="F9D3D3"/>
    <a:srgbClr val="FA8694"/>
    <a:srgbClr val="CDD9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4796" autoAdjust="0"/>
  </p:normalViewPr>
  <p:slideViewPr>
    <p:cSldViewPr snapToGrid="0">
      <p:cViewPr varScale="1">
        <p:scale>
          <a:sx n="80" d="100"/>
          <a:sy n="80" d="100"/>
        </p:scale>
        <p:origin x="112" y="-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8E24DE-C326-4A33-A703-053B6CF62C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A8A69D-C15C-45CA-8A4B-E5923C58E5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2F9433-4AFC-479A-91ED-E9CBA9BCD0AE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91FFD6-B791-4BFF-B435-F48F3D12BB1D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696233-E86B-4BB7-BDF3-DAB440BE31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874C3-CE0E-44C2-AF61-FF2A1F8C7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7136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5E80A9-8E84-453D-9D5B-BF351BB16076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091D7-7E21-48B8-9B0F-6AD5F1CF68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1064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47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873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19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0014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5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C83A98-69D8-4B8A-9C15-2B4EFECC47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9048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F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194109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F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F10CC6-76DC-41AB-B1F3-00DC66F918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2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1B4C3F-7989-4A5B-8E39-8C717CC909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6476C0-EDBD-4FCC-835E-2ED16BAB0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89DC65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DC82CE-C64E-46A7-83AE-DC100BAB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77858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2465B0C-332F-43C9-A1C1-D4841E0AE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89DC65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2BF00C4-87EE-492B-BE20-F125DC2F7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15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C70A22-7DE4-4E8D-843A-E83AB58A34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18A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C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5258D51-9BDF-44DE-95DE-3BCA6112B4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54524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84363BE-E6CC-42D6-9154-FEC255D7FA1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454887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946BD8-D4D0-4AE3-B8BE-B6BBFBAEC2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8097D8-B571-4158-8CA6-8E2A3AE6F9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5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092797" cy="417284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5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3FD239-7647-4281-927A-BFAD5103DC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0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1D28-4D27-4698-980C-2F43A6EED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22AF92-B671-4EBA-BC9C-3DBE8DED0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BAB42B-B333-4246-BB7A-49AA68202E0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98548-9C74-420D-963E-1AFD6CB13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30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311893BE-1981-44EF-9497-46C59A7EC2B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18C7F433-4F19-4D5D-AEC9-B254A6A3F1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8F588E5-AD2E-4815-B677-679FC0F38F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26884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93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458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25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87276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AC090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0CC6851-F93F-48F8-9106-2832EEEA0E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0AEE2FE2-47C2-4C26-91D4-B4AC25B4F8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4E86C3E-DE48-4274-82AC-A7E050220F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D6570DF7-46D6-4568-A3F4-D132BB714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02759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1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260435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853629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 dirty="0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194669" y="4949373"/>
            <a:ext cx="11893947" cy="1095827"/>
            <a:chOff x="0" y="5762174"/>
            <a:chExt cx="12197606" cy="1095826"/>
          </a:xfrm>
          <a:solidFill>
            <a:srgbClr val="B50102"/>
          </a:solidFill>
        </p:grpSpPr>
        <p:cxnSp>
          <p:nvCxnSpPr>
            <p:cNvPr id="9" name="直接连接符 8"/>
            <p:cNvCxnSpPr/>
            <p:nvPr/>
          </p:nvCxnSpPr>
          <p:spPr>
            <a:xfrm>
              <a:off x="0" y="57621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5606" y="59145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10"/>
            <p:cNvSpPr/>
            <p:nvPr/>
          </p:nvSpPr>
          <p:spPr>
            <a:xfrm>
              <a:off x="0" y="6045200"/>
              <a:ext cx="12192000" cy="812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/>
              <a:endParaRPr lang="zh-CN" altLang="en-US" sz="1867">
                <a:solidFill>
                  <a:prstClr val="white"/>
                </a:solidFill>
              </a:endParaRPr>
            </a:p>
          </p:txBody>
        </p:sp>
      </p:grp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213945" y="2446177"/>
            <a:ext cx="9538139" cy="1325563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54156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5725" y="3380445"/>
            <a:ext cx="10972800" cy="1143000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46" y="4796977"/>
            <a:ext cx="12075887" cy="209005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25986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57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760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65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6642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/>
          <p:cNvSpPr/>
          <p:nvPr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8" name="object 18"/>
          <p:cNvSpPr/>
          <p:nvPr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2180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8952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51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4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21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05271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4447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205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42620B-F544-4B9C-A554-A7363556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49B5474-42E4-45C3-BE5B-341B9D9D9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6478CF9-0506-4F65-8880-B211CE371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500CE-4FB9-483D-8EF9-19E68B70AC9A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9/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3646487-24A9-4A14-8911-57C6333A5ED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742929-3A16-4491-BE62-C85BCB905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86526-4978-44E2-88E5-81B9DB6C174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80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367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67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5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00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866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542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80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50" r:id="rId3"/>
    <p:sldLayoutId id="2147483672" r:id="rId4"/>
    <p:sldLayoutId id="2147483651" r:id="rId5"/>
    <p:sldLayoutId id="2147483652" r:id="rId6"/>
    <p:sldLayoutId id="2147483673" r:id="rId7"/>
    <p:sldLayoutId id="2147483675" r:id="rId8"/>
    <p:sldLayoutId id="2147483676" r:id="rId9"/>
    <p:sldLayoutId id="2147483677" r:id="rId10"/>
    <p:sldLayoutId id="2147483680" r:id="rId11"/>
    <p:sldLayoutId id="2147483682" r:id="rId12"/>
    <p:sldLayoutId id="214748372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0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8" r:id="rId2"/>
    <p:sldLayoutId id="2147483661" r:id="rId3"/>
    <p:sldLayoutId id="2147483662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859A94E-1C8A-4C76-9411-3BC6C5ED5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01F20-ADE1-467E-99F3-A9D38402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0921883-E3F3-4674-B64F-04A390BC6F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6380-480D-483C-B273-B36E7CC7E1C0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C40333-6AC9-4F6E-A5F4-EA55849F65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921F5A-D1D3-4652-8B77-0ED0814B3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7CE78-A4EE-4C07-8393-0BF1DA49B86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13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6AE01-8819-4A7A-8B96-41E4329CB7E9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11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09" y="2960716"/>
            <a:ext cx="4571999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altLang="zh-CN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OP</a:t>
            </a:r>
            <a:r>
              <a:rPr lang="zh-CN" alt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基本概念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D67AE1E-4C49-FC03-716E-B770A2466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09" y="953037"/>
            <a:ext cx="4036333" cy="1709849"/>
          </a:xfrm>
        </p:spPr>
        <p:txBody>
          <a:bodyPr vert="horz" lIns="91440" tIns="45720" rIns="91440" bIns="45720" rtlCol="0" anchor="b">
            <a:normAutofit/>
          </a:bodyPr>
          <a:lstStyle/>
          <a:p>
            <a:endParaRPr lang="en-US" altLang="zh-CN" sz="2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 descr="书籍">
            <a:extLst>
              <a:ext uri="{FF2B5EF4-FFF2-40B4-BE49-F238E27FC236}">
                <a16:creationId xmlns:a16="http://schemas.microsoft.com/office/drawing/2014/main" id="{2AD817C0-6636-2D87-7192-718D6C1D4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57597" y="666728"/>
            <a:ext cx="5465791" cy="54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2EAFBA-2A51-E914-58AA-AD5500BE0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念理解   </a:t>
            </a:r>
            <a:r>
              <a:rPr lang="en-US" altLang="zh-CN" dirty="0"/>
              <a:t>- </a:t>
            </a:r>
            <a:r>
              <a:rPr lang="zh-CN" altLang="en-US" dirty="0"/>
              <a:t>抽象（</a:t>
            </a:r>
            <a:r>
              <a:rPr lang="en-US" altLang="zh-CN" dirty="0"/>
              <a:t>Abstraction</a:t>
            </a:r>
            <a:r>
              <a:rPr lang="zh-CN" altLang="en-US" dirty="0"/>
              <a:t>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E88037C-5ED7-473B-8B21-761FEDB83FC2}"/>
              </a:ext>
            </a:extLst>
          </p:cNvPr>
          <p:cNvSpPr txBox="1"/>
          <p:nvPr/>
        </p:nvSpPr>
        <p:spPr>
          <a:xfrm>
            <a:off x="2589474" y="2123603"/>
            <a:ext cx="74768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抽象</a:t>
            </a:r>
            <a:r>
              <a:rPr lang="zh-CN" altLang="en-US" dirty="0"/>
              <a:t>就是 提取能表达该事物的重要</a:t>
            </a:r>
            <a:r>
              <a:rPr lang="zh-CN" altLang="en-US" sz="2400" b="1" dirty="0">
                <a:solidFill>
                  <a:srgbClr val="FF0000"/>
                </a:solidFill>
              </a:rPr>
              <a:t>特征（属性和行为</a:t>
            </a:r>
            <a:r>
              <a:rPr lang="en-US" altLang="zh-CN" sz="2400" b="1" dirty="0">
                <a:solidFill>
                  <a:srgbClr val="FF0000"/>
                </a:solidFill>
              </a:rPr>
              <a:t>)</a:t>
            </a:r>
            <a:r>
              <a:rPr lang="zh-CN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720516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  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93F01CF-BEBB-D0B1-3074-ECCFE102BD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0264" y="1171139"/>
            <a:ext cx="1375807" cy="486542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6965344" y="2090720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温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CF26A21-9576-798A-968B-F27B0F5C989F}"/>
              </a:ext>
            </a:extLst>
          </p:cNvPr>
          <p:cNvSpPr txBox="1"/>
          <p:nvPr/>
        </p:nvSpPr>
        <p:spPr>
          <a:xfrm>
            <a:off x="6965343" y="3568258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吃东西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走路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F464E03-2EB7-1F7B-2189-9C1485B4EE1B}"/>
              </a:ext>
            </a:extLst>
          </p:cNvPr>
          <p:cNvSpPr txBox="1"/>
          <p:nvPr/>
        </p:nvSpPr>
        <p:spPr>
          <a:xfrm>
            <a:off x="8847661" y="2268942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属性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attribut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9D0E42E-BCFA-4F6D-F75C-6011722949B8}"/>
              </a:ext>
            </a:extLst>
          </p:cNvPr>
          <p:cNvSpPr txBox="1"/>
          <p:nvPr/>
        </p:nvSpPr>
        <p:spPr>
          <a:xfrm>
            <a:off x="8926088" y="4230485"/>
            <a:ext cx="3393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行为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behavior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393735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</a:t>
            </a:r>
            <a:endParaRPr lang="en-US" altLang="zh-CN" dirty="0"/>
          </a:p>
          <a:p>
            <a:pPr algn="ctr"/>
            <a:r>
              <a:rPr lang="zh-CN" altLang="en-US" dirty="0"/>
              <a:t>就是提取能表达这些动物的共同属性和行为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DB8B6F8-0CE8-2E7C-0152-37F135E71FD7}"/>
              </a:ext>
            </a:extLst>
          </p:cNvPr>
          <p:cNvSpPr txBox="1"/>
          <p:nvPr/>
        </p:nvSpPr>
        <p:spPr>
          <a:xfrm>
            <a:off x="3320940" y="1183635"/>
            <a:ext cx="3321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1</a:t>
            </a:r>
            <a:r>
              <a:rPr lang="zh-CN" altLang="en-US" b="1" dirty="0"/>
              <a:t>： 给左边这些动物做抽象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7445D99-23A4-DCB3-3525-74805C2801A6}"/>
              </a:ext>
            </a:extLst>
          </p:cNvPr>
          <p:cNvSpPr txBox="1"/>
          <p:nvPr/>
        </p:nvSpPr>
        <p:spPr>
          <a:xfrm>
            <a:off x="6907202" y="5588304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动物的特征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3ED638E-E90A-24CF-0727-B4BE5294838C}"/>
              </a:ext>
            </a:extLst>
          </p:cNvPr>
          <p:cNvSpPr/>
          <p:nvPr/>
        </p:nvSpPr>
        <p:spPr>
          <a:xfrm>
            <a:off x="6965344" y="1622066"/>
            <a:ext cx="1800000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动物</a:t>
            </a:r>
          </a:p>
        </p:txBody>
      </p:sp>
    </p:spTree>
    <p:extLst>
      <p:ext uri="{BB962C8B-B14F-4D97-AF65-F5344CB8AC3E}">
        <p14:creationId xmlns:p14="http://schemas.microsoft.com/office/powerpoint/2010/main" val="3782693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ED8FC84-F3F9-7F89-CF37-2B348A8D6230}"/>
              </a:ext>
            </a:extLst>
          </p:cNvPr>
          <p:cNvSpPr/>
          <p:nvPr/>
        </p:nvSpPr>
        <p:spPr>
          <a:xfrm>
            <a:off x="6829318" y="2418224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7024237" y="2344656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品牌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  <a:p>
            <a:endParaRPr lang="en-US" altLang="zh-CN" dirty="0"/>
          </a:p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减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415737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 出来属性与行为</a:t>
            </a:r>
            <a:endParaRPr lang="en-US" altLang="zh-CN" dirty="0"/>
          </a:p>
        </p:txBody>
      </p:sp>
      <p:pic>
        <p:nvPicPr>
          <p:cNvPr id="5" name="图片 4" descr="图片包含 图标&#10;&#10;描述已自动生成">
            <a:extLst>
              <a:ext uri="{FF2B5EF4-FFF2-40B4-BE49-F238E27FC236}">
                <a16:creationId xmlns:a16="http://schemas.microsoft.com/office/drawing/2014/main" id="{3C1E0A3C-B4A0-A104-30D2-C4BD2797869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78" y="1692264"/>
            <a:ext cx="1746340" cy="812842"/>
          </a:xfrm>
          <a:prstGeom prst="rect">
            <a:avLst/>
          </a:prstGeom>
        </p:spPr>
      </p:pic>
      <p:pic>
        <p:nvPicPr>
          <p:cNvPr id="4" name="图片 3" descr="卡车停在路边&#10;&#10;描述已自动生成">
            <a:extLst>
              <a:ext uri="{FF2B5EF4-FFF2-40B4-BE49-F238E27FC236}">
                <a16:creationId xmlns:a16="http://schemas.microsoft.com/office/drawing/2014/main" id="{47B1AA23-6996-0B34-60E6-6052B011E57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78" y="4565471"/>
            <a:ext cx="1529123" cy="874612"/>
          </a:xfrm>
          <a:prstGeom prst="rect">
            <a:avLst/>
          </a:prstGeom>
        </p:spPr>
      </p:pic>
      <p:pic>
        <p:nvPicPr>
          <p:cNvPr id="13318" name="Picture 6" descr="ambulance clip art done in | Clipart Panda - Free Clipart Images">
            <a:extLst>
              <a:ext uri="{FF2B5EF4-FFF2-40B4-BE49-F238E27FC236}">
                <a16:creationId xmlns:a16="http://schemas.microsoft.com/office/drawing/2014/main" id="{517E79B5-3939-45FC-12CE-B88CA3208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945" y="2980905"/>
            <a:ext cx="1478356" cy="110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57DDE82-8390-4667-F32D-93A07A5929DE}"/>
              </a:ext>
            </a:extLst>
          </p:cNvPr>
          <p:cNvSpPr txBox="1"/>
          <p:nvPr/>
        </p:nvSpPr>
        <p:spPr>
          <a:xfrm>
            <a:off x="3178549" y="1169073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2</a:t>
            </a:r>
            <a:r>
              <a:rPr lang="zh-CN" altLang="en-US" b="1" dirty="0"/>
              <a:t>： 给左边这些汽车做抽象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201F07-E2B8-4212-8DA4-5DBCEA1F9104}"/>
              </a:ext>
            </a:extLst>
          </p:cNvPr>
          <p:cNvSpPr txBox="1"/>
          <p:nvPr/>
        </p:nvSpPr>
        <p:spPr>
          <a:xfrm>
            <a:off x="6980909" y="1266331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这类汽车的特征</a:t>
            </a:r>
          </a:p>
        </p:txBody>
      </p:sp>
      <p:sp>
        <p:nvSpPr>
          <p:cNvPr id="7" name="矩形: 圆顶角 6">
            <a:extLst>
              <a:ext uri="{FF2B5EF4-FFF2-40B4-BE49-F238E27FC236}">
                <a16:creationId xmlns:a16="http://schemas.microsoft.com/office/drawing/2014/main" id="{56B723E9-9FFA-B559-D039-89AA6B5B6385}"/>
              </a:ext>
            </a:extLst>
          </p:cNvPr>
          <p:cNvSpPr/>
          <p:nvPr/>
        </p:nvSpPr>
        <p:spPr>
          <a:xfrm>
            <a:off x="7024236" y="1861513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汽车</a:t>
            </a:r>
          </a:p>
        </p:txBody>
      </p:sp>
    </p:spTree>
    <p:extLst>
      <p:ext uri="{BB962C8B-B14F-4D97-AF65-F5344CB8AC3E}">
        <p14:creationId xmlns:p14="http://schemas.microsoft.com/office/powerpoint/2010/main" val="2760974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209126" y="2861106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5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E2D7B1-56B2-90B9-7530-AAFDED0AA0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960" y="1344680"/>
            <a:ext cx="1061720" cy="15157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2265680" y="1344680"/>
            <a:ext cx="26371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3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挪威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锋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球队：曼城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C33062B-2961-13E0-0EAE-97C2ECFF36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445" y="3036711"/>
            <a:ext cx="1219351" cy="168027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2349797" y="3036710"/>
            <a:ext cx="20328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维尔茨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0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德国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腰</a:t>
            </a:r>
          </a:p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球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队：勒沃库森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3199A14-05D1-1B19-BEE8-3ED105822D17}"/>
              </a:ext>
            </a:extLst>
          </p:cNvPr>
          <p:cNvSpPr txBox="1"/>
          <p:nvPr/>
        </p:nvSpPr>
        <p:spPr>
          <a:xfrm>
            <a:off x="2444550" y="4883395"/>
            <a:ext cx="19381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加维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年龄：</a:t>
            </a:r>
            <a:r>
              <a:rPr lang="en-US" altLang="zh-CN" b="0" i="0" dirty="0">
                <a:solidFill>
                  <a:srgbClr val="191919"/>
                </a:solidFill>
                <a:effectLst/>
                <a:latin typeface="PingFang SC"/>
              </a:rPr>
              <a:t>19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国籍：西班牙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位置：中场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dirty="0">
                <a:solidFill>
                  <a:srgbClr val="191919"/>
                </a:solidFill>
                <a:latin typeface="PingFang SC"/>
              </a:rPr>
              <a:t>球</a:t>
            </a:r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伍：巴塞罗那</a:t>
            </a:r>
            <a:endParaRPr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912565A-1A58-285A-4D30-B9CC2DD038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38" y="4841339"/>
            <a:ext cx="1203195" cy="1764387"/>
          </a:xfrm>
          <a:prstGeom prst="rect">
            <a:avLst/>
          </a:prstGeom>
        </p:spPr>
      </p:pic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295974" y="1478701"/>
            <a:ext cx="651722" cy="479629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446784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554266" y="2085793"/>
            <a:ext cx="3049957" cy="369331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国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球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位置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踢球运动</a:t>
            </a:r>
            <a:r>
              <a:rPr lang="en-US" altLang="zh-CN" dirty="0"/>
              <a:t> 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习</a:t>
            </a:r>
            <a:r>
              <a:rPr lang="en-US" altLang="zh-CN" dirty="0"/>
              <a:t>	lea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 </a:t>
            </a:r>
            <a:r>
              <a:rPr lang="en-US" altLang="zh-CN" dirty="0"/>
              <a:t>	sleep</a:t>
            </a:r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2909611" y="3881566"/>
            <a:ext cx="60946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3841454" y="1141623"/>
            <a:ext cx="3704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3</a:t>
            </a:r>
            <a:r>
              <a:rPr lang="zh-CN" altLang="en-US" b="1" dirty="0"/>
              <a:t>： 以下足球明星星 抽象 过程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89437" y="1205342"/>
            <a:ext cx="3076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 这类球员的共有特征</a:t>
            </a:r>
          </a:p>
        </p:txBody>
      </p:sp>
      <p:sp>
        <p:nvSpPr>
          <p:cNvPr id="4" name="矩形: 圆顶角 3">
            <a:extLst>
              <a:ext uri="{FF2B5EF4-FFF2-40B4-BE49-F238E27FC236}">
                <a16:creationId xmlns:a16="http://schemas.microsoft.com/office/drawing/2014/main" id="{36018130-2395-F00E-E1DB-F5C1FCF0AED2}"/>
              </a:ext>
            </a:extLst>
          </p:cNvPr>
          <p:cNvSpPr/>
          <p:nvPr/>
        </p:nvSpPr>
        <p:spPr>
          <a:xfrm>
            <a:off x="7546314" y="1606054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球员</a:t>
            </a:r>
          </a:p>
        </p:txBody>
      </p:sp>
    </p:spTree>
    <p:extLst>
      <p:ext uri="{BB962C8B-B14F-4D97-AF65-F5344CB8AC3E}">
        <p14:creationId xmlns:p14="http://schemas.microsoft.com/office/powerpoint/2010/main" val="1872203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083835" y="1884505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1108738" y="1882053"/>
            <a:ext cx="26371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翁凯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C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语言与实验课程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1112680" y="2786814"/>
            <a:ext cx="28651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方富民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托福阅读课程</a:t>
            </a:r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062872" y="1964526"/>
            <a:ext cx="651722" cy="228590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232103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477408" y="1672330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姓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院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课程名称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讲课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出试卷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批作业 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4474762" y="2890410"/>
            <a:ext cx="278618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3337859" y="1165568"/>
            <a:ext cx="2896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4</a:t>
            </a:r>
            <a:r>
              <a:rPr lang="zh-CN" altLang="en-US" b="1" dirty="0"/>
              <a:t>： 针对 教师 做 抽象 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18831" y="5686602"/>
            <a:ext cx="2675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类 教师的特征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8EEA871-E518-DDB1-7C7D-0F9255884BF1}"/>
              </a:ext>
            </a:extLst>
          </p:cNvPr>
          <p:cNvSpPr txBox="1"/>
          <p:nvPr/>
        </p:nvSpPr>
        <p:spPr>
          <a:xfrm>
            <a:off x="1063535" y="3827175"/>
            <a:ext cx="28651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杨波老师教大学物理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课程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A6E3B8A-B64D-3FC5-403C-38E04B942D57}"/>
              </a:ext>
            </a:extLst>
          </p:cNvPr>
          <p:cNvSpPr/>
          <p:nvPr/>
        </p:nvSpPr>
        <p:spPr>
          <a:xfrm>
            <a:off x="7478814" y="1180712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教师</a:t>
            </a:r>
          </a:p>
        </p:txBody>
      </p:sp>
    </p:spTree>
    <p:extLst>
      <p:ext uri="{BB962C8B-B14F-4D97-AF65-F5344CB8AC3E}">
        <p14:creationId xmlns:p14="http://schemas.microsoft.com/office/powerpoint/2010/main" val="3157028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C07319-0604-F708-56FD-EB67A780F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</a:t>
            </a:r>
            <a:r>
              <a:rPr lang="zh-CN" altLang="en-US" dirty="0"/>
              <a:t>、对象</a:t>
            </a:r>
            <a:r>
              <a:rPr lang="en-US" altLang="zh-CN" dirty="0"/>
              <a:t>(Object)</a:t>
            </a:r>
            <a:r>
              <a:rPr lang="zh-CN" altLang="en-US" dirty="0"/>
              <a:t>、类</a:t>
            </a:r>
            <a:r>
              <a:rPr lang="en-US" altLang="zh-CN" dirty="0"/>
              <a:t>(Class) </a:t>
            </a:r>
            <a:r>
              <a:rPr lang="zh-CN" altLang="en-US" dirty="0"/>
              <a:t>关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82FE65-84F1-123C-1CD7-34C2D4F937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5A375A9-BD69-95A1-4391-F13E8FECAE09}"/>
              </a:ext>
            </a:extLst>
          </p:cNvPr>
          <p:cNvGrpSpPr/>
          <p:nvPr/>
        </p:nvGrpSpPr>
        <p:grpSpPr>
          <a:xfrm>
            <a:off x="2352988" y="1736221"/>
            <a:ext cx="1781971" cy="1168843"/>
            <a:chOff x="2352988" y="1736221"/>
            <a:chExt cx="1781971" cy="1168843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0C78EA5-C4F4-88F2-86E3-BCCBEE9DA9B2}"/>
                </a:ext>
              </a:extLst>
            </p:cNvPr>
            <p:cNvSpPr/>
            <p:nvPr/>
          </p:nvSpPr>
          <p:spPr>
            <a:xfrm>
              <a:off x="2684974" y="1999471"/>
              <a:ext cx="1449985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具体的人或物</a:t>
              </a:r>
              <a:endParaRPr lang="en-US" altLang="zh-CN" sz="1400" dirty="0">
                <a:solidFill>
                  <a:schemeClr val="bg2">
                    <a:lumMod val="75000"/>
                  </a:schemeClr>
                </a:solidFill>
              </a:endParaRPr>
            </a:p>
            <a:p>
              <a:r>
                <a:rPr lang="zh-CN" altLang="en-US" sz="1400" b="1" dirty="0"/>
                <a:t>      </a:t>
              </a:r>
              <a:r>
                <a:rPr lang="zh-CN" altLang="en-US" sz="2000" b="1" dirty="0"/>
                <a:t>物</a:t>
              </a:r>
              <a:endParaRPr lang="en-US" altLang="zh-CN" sz="1400" dirty="0"/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1CA0B8ED-452B-8C40-2C66-9A414A15F2A4}"/>
                </a:ext>
              </a:extLst>
            </p:cNvPr>
            <p:cNvSpPr/>
            <p:nvPr/>
          </p:nvSpPr>
          <p:spPr>
            <a:xfrm>
              <a:off x="2352988" y="1736221"/>
              <a:ext cx="1781971" cy="1168843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543AB434-8515-4374-C02B-FE6D7F38256D}"/>
              </a:ext>
            </a:extLst>
          </p:cNvPr>
          <p:cNvGrpSpPr/>
          <p:nvPr/>
        </p:nvGrpSpPr>
        <p:grpSpPr>
          <a:xfrm>
            <a:off x="6670420" y="1736222"/>
            <a:ext cx="3994807" cy="1168842"/>
            <a:chOff x="6670420" y="1736222"/>
            <a:chExt cx="3994807" cy="116884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5AE79D2-82AC-118C-1027-B6C76AD62947}"/>
                </a:ext>
              </a:extLst>
            </p:cNvPr>
            <p:cNvSpPr/>
            <p:nvPr/>
          </p:nvSpPr>
          <p:spPr>
            <a:xfrm>
              <a:off x="6936789" y="1988005"/>
              <a:ext cx="3415809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b="1" dirty="0">
                  <a:solidFill>
                    <a:schemeClr val="tx1"/>
                  </a:solidFill>
                </a:rPr>
                <a:t>种类特征</a:t>
              </a:r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：       </a:t>
              </a:r>
              <a:r>
                <a:rPr lang="zh-CN" altLang="en-US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属性</a:t>
              </a:r>
              <a:r>
                <a:rPr lang="zh-CN" altLang="en-US" b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、          </a:t>
              </a:r>
              <a:r>
                <a:rPr lang="zh-CN" altLang="en-US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行为</a:t>
              </a:r>
              <a:endParaRPr lang="en-US" altLang="zh-CN" b="1" dirty="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2B915F00-8F1D-BBE8-CCF4-D3B86D87811A}"/>
                </a:ext>
              </a:extLst>
            </p:cNvPr>
            <p:cNvSpPr/>
            <p:nvPr/>
          </p:nvSpPr>
          <p:spPr>
            <a:xfrm>
              <a:off x="6670420" y="1736222"/>
              <a:ext cx="3994807" cy="1168842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B85AB8D7-AC09-9C76-ACF1-363F241BD642}"/>
              </a:ext>
            </a:extLst>
          </p:cNvPr>
          <p:cNvGrpSpPr/>
          <p:nvPr/>
        </p:nvGrpSpPr>
        <p:grpSpPr>
          <a:xfrm>
            <a:off x="4354302" y="4270989"/>
            <a:ext cx="2365238" cy="649373"/>
            <a:chOff x="4354302" y="4270989"/>
            <a:chExt cx="2365238" cy="649373"/>
          </a:xfrm>
        </p:grpSpPr>
        <p:sp>
          <p:nvSpPr>
            <p:cNvPr id="13" name="箭头: 下 12">
              <a:extLst>
                <a:ext uri="{FF2B5EF4-FFF2-40B4-BE49-F238E27FC236}">
                  <a16:creationId xmlns:a16="http://schemas.microsoft.com/office/drawing/2014/main" id="{443ACC27-61B7-8E18-2701-B7B027403F52}"/>
                </a:ext>
              </a:extLst>
            </p:cNvPr>
            <p:cNvSpPr/>
            <p:nvPr/>
          </p:nvSpPr>
          <p:spPr>
            <a:xfrm rot="16200000">
              <a:off x="5408327" y="3609149"/>
              <a:ext cx="257188" cy="2365238"/>
            </a:xfrm>
            <a:prstGeom prst="downArrow">
              <a:avLst>
                <a:gd name="adj1" fmla="val 50000"/>
                <a:gd name="adj2" fmla="val 97321"/>
              </a:avLst>
            </a:prstGeom>
            <a:solidFill>
              <a:srgbClr val="FF737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FD96586A-BEF8-81AA-6E7C-927B62FCD0F7}"/>
                </a:ext>
              </a:extLst>
            </p:cNvPr>
            <p:cNvSpPr txBox="1"/>
            <p:nvPr/>
          </p:nvSpPr>
          <p:spPr>
            <a:xfrm>
              <a:off x="4476364" y="4270989"/>
              <a:ext cx="189692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2000" b="1" dirty="0">
                  <a:solidFill>
                    <a:srgbClr val="262626"/>
                  </a:solidFill>
                </a:rPr>
                <a:t>Abstraction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7349168B-941E-8CEB-0127-702CC8AA7EEE}"/>
              </a:ext>
            </a:extLst>
          </p:cNvPr>
          <p:cNvGrpSpPr/>
          <p:nvPr/>
        </p:nvGrpSpPr>
        <p:grpSpPr>
          <a:xfrm>
            <a:off x="4326955" y="1741058"/>
            <a:ext cx="2267651" cy="1045431"/>
            <a:chOff x="4326955" y="1741058"/>
            <a:chExt cx="2267651" cy="1045431"/>
          </a:xfrm>
        </p:grpSpPr>
        <p:sp>
          <p:nvSpPr>
            <p:cNvPr id="34" name="箭头: 下 33">
              <a:extLst>
                <a:ext uri="{FF2B5EF4-FFF2-40B4-BE49-F238E27FC236}">
                  <a16:creationId xmlns:a16="http://schemas.microsoft.com/office/drawing/2014/main" id="{6C6352BA-6E8A-E770-7738-7C5219CE1FA2}"/>
                </a:ext>
              </a:extLst>
            </p:cNvPr>
            <p:cNvSpPr/>
            <p:nvPr/>
          </p:nvSpPr>
          <p:spPr>
            <a:xfrm rot="16200000">
              <a:off x="4938065" y="1129948"/>
              <a:ext cx="1045431" cy="2267651"/>
            </a:xfrm>
            <a:prstGeom prst="downArrow">
              <a:avLst>
                <a:gd name="adj1" fmla="val 50000"/>
                <a:gd name="adj2" fmla="val 66405"/>
              </a:avLst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6513543-0F3D-37A3-9FF7-38C8F999E0E1}"/>
                </a:ext>
              </a:extLst>
            </p:cNvPr>
            <p:cNvSpPr txBox="1"/>
            <p:nvPr/>
          </p:nvSpPr>
          <p:spPr>
            <a:xfrm>
              <a:off x="4490141" y="2079109"/>
              <a:ext cx="186936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dirty="0"/>
                <a:t>进行</a:t>
              </a:r>
              <a:r>
                <a:rPr lang="zh-CN" altLang="en-US" dirty="0"/>
                <a:t>抽象</a:t>
              </a:r>
              <a:endParaRPr lang="en-US" altLang="zh-CN" sz="1600" dirty="0"/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6E3F6F9E-9A0C-2F55-9052-70CB136F690C}"/>
              </a:ext>
            </a:extLst>
          </p:cNvPr>
          <p:cNvSpPr txBox="1"/>
          <p:nvPr/>
        </p:nvSpPr>
        <p:spPr>
          <a:xfrm>
            <a:off x="276008" y="2066492"/>
            <a:ext cx="1837132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/>
              <a:t>用生活语言描述：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4B8C932E-6F56-E57C-AFA0-FE8F9EEFD65B}"/>
              </a:ext>
            </a:extLst>
          </p:cNvPr>
          <p:cNvSpPr txBox="1"/>
          <p:nvPr/>
        </p:nvSpPr>
        <p:spPr>
          <a:xfrm>
            <a:off x="106132" y="4445384"/>
            <a:ext cx="206498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dirty="0"/>
              <a:t>用</a:t>
            </a:r>
            <a:r>
              <a:rPr lang="en-US" altLang="zh-CN" dirty="0"/>
              <a:t>OOP</a:t>
            </a:r>
            <a:r>
              <a:rPr lang="zh-CN" altLang="en-US" dirty="0"/>
              <a:t>语言描述：</a:t>
            </a:r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1D1A3B75-4CF7-4DA4-B67F-B44E281064F1}"/>
              </a:ext>
            </a:extLst>
          </p:cNvPr>
          <p:cNvCxnSpPr>
            <a:cxnSpLocks/>
          </p:cNvCxnSpPr>
          <p:nvPr/>
        </p:nvCxnSpPr>
        <p:spPr>
          <a:xfrm>
            <a:off x="3167149" y="2637999"/>
            <a:ext cx="0" cy="122633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481C5C99-F48F-7D44-FB04-5FF942455ACB}"/>
              </a:ext>
            </a:extLst>
          </p:cNvPr>
          <p:cNvCxnSpPr>
            <a:cxnSpLocks/>
          </p:cNvCxnSpPr>
          <p:nvPr/>
        </p:nvCxnSpPr>
        <p:spPr>
          <a:xfrm>
            <a:off x="5330867" y="2708048"/>
            <a:ext cx="0" cy="133758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0D7487D1-5DFC-B61C-063A-E981883FF0ED}"/>
              </a:ext>
            </a:extLst>
          </p:cNvPr>
          <p:cNvCxnSpPr>
            <a:cxnSpLocks/>
          </p:cNvCxnSpPr>
          <p:nvPr/>
        </p:nvCxnSpPr>
        <p:spPr>
          <a:xfrm>
            <a:off x="7500851" y="2624097"/>
            <a:ext cx="0" cy="124023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>
            <a:extLst>
              <a:ext uri="{FF2B5EF4-FFF2-40B4-BE49-F238E27FC236}">
                <a16:creationId xmlns:a16="http://schemas.microsoft.com/office/drawing/2014/main" id="{DD8AC97A-0232-3121-7F72-5CFDE519ED48}"/>
              </a:ext>
            </a:extLst>
          </p:cNvPr>
          <p:cNvGrpSpPr/>
          <p:nvPr/>
        </p:nvGrpSpPr>
        <p:grpSpPr>
          <a:xfrm>
            <a:off x="6892085" y="4045629"/>
            <a:ext cx="4133535" cy="1168842"/>
            <a:chOff x="6892085" y="4045629"/>
            <a:chExt cx="4133535" cy="1168842"/>
          </a:xfrm>
        </p:grpSpPr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3052B14E-144A-160C-065A-5661D4B37997}"/>
                </a:ext>
              </a:extLst>
            </p:cNvPr>
            <p:cNvSpPr/>
            <p:nvPr/>
          </p:nvSpPr>
          <p:spPr>
            <a:xfrm>
              <a:off x="6892085" y="4045629"/>
              <a:ext cx="3773141" cy="1168842"/>
            </a:xfrm>
            <a:prstGeom prst="rect">
              <a:avLst/>
            </a:prstGeom>
            <a:solidFill>
              <a:srgbClr val="FFC24D"/>
            </a:solidFill>
            <a:ln>
              <a:solidFill>
                <a:srgbClr val="F4B084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880C8FF-B726-3903-7A75-B2EE3ED8A12F}"/>
                </a:ext>
              </a:extLst>
            </p:cNvPr>
            <p:cNvSpPr/>
            <p:nvPr/>
          </p:nvSpPr>
          <p:spPr>
            <a:xfrm>
              <a:off x="7117052" y="4205214"/>
              <a:ext cx="1113345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Class</a:t>
              </a:r>
              <a:r>
                <a:rPr lang="zh-CN" altLang="en-US" sz="2000" b="1" dirty="0">
                  <a:solidFill>
                    <a:srgbClr val="262626"/>
                  </a:solidFill>
                </a:rPr>
                <a:t>：</a:t>
              </a:r>
              <a:endParaRPr lang="en-US" altLang="zh-CN" b="1" dirty="0">
                <a:solidFill>
                  <a:srgbClr val="FF0000"/>
                </a:solidFill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55A2975C-31E5-9EBA-87F1-65E571FA0916}"/>
                </a:ext>
              </a:extLst>
            </p:cNvPr>
            <p:cNvSpPr txBox="1"/>
            <p:nvPr/>
          </p:nvSpPr>
          <p:spPr>
            <a:xfrm>
              <a:off x="9535247" y="4430689"/>
              <a:ext cx="149037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Methods</a:t>
              </a:r>
              <a:endParaRPr lang="zh-CN" altLang="en-US" dirty="0">
                <a:solidFill>
                  <a:srgbClr val="262626"/>
                </a:solidFill>
              </a:endParaRP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C72D1214-743F-3F4B-E609-37F383EB0BD1}"/>
                </a:ext>
              </a:extLst>
            </p:cNvPr>
            <p:cNvSpPr txBox="1"/>
            <p:nvPr/>
          </p:nvSpPr>
          <p:spPr>
            <a:xfrm>
              <a:off x="8122174" y="4430689"/>
              <a:ext cx="187477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Attributes</a:t>
              </a: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306BF6CA-BBBB-EEAA-0400-CE76C1E6753D}"/>
              </a:ext>
            </a:extLst>
          </p:cNvPr>
          <p:cNvGrpSpPr/>
          <p:nvPr/>
        </p:nvGrpSpPr>
        <p:grpSpPr>
          <a:xfrm>
            <a:off x="2368264" y="4004290"/>
            <a:ext cx="1766695" cy="1168843"/>
            <a:chOff x="2368264" y="4004290"/>
            <a:chExt cx="1766695" cy="1168843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C325AB1D-7D3B-A89F-CD34-DF405BEE1393}"/>
                </a:ext>
              </a:extLst>
            </p:cNvPr>
            <p:cNvSpPr/>
            <p:nvPr/>
          </p:nvSpPr>
          <p:spPr>
            <a:xfrm>
              <a:off x="2368264" y="4004290"/>
              <a:ext cx="1766695" cy="1168843"/>
            </a:xfrm>
            <a:prstGeom prst="rect">
              <a:avLst/>
            </a:prstGeom>
            <a:solidFill>
              <a:srgbClr val="C4FF4F"/>
            </a:solidFill>
            <a:ln>
              <a:solidFill>
                <a:srgbClr val="92D05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57288B77-78CA-D8DA-B1AD-570773675CC4}"/>
                </a:ext>
              </a:extLst>
            </p:cNvPr>
            <p:cNvSpPr/>
            <p:nvPr/>
          </p:nvSpPr>
          <p:spPr>
            <a:xfrm>
              <a:off x="2677406" y="4368031"/>
              <a:ext cx="1293154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Object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BD9E4664-7BCC-9DDD-10C7-2A02018EAE3C}"/>
              </a:ext>
            </a:extLst>
          </p:cNvPr>
          <p:cNvGrpSpPr/>
          <p:nvPr/>
        </p:nvGrpSpPr>
        <p:grpSpPr>
          <a:xfrm>
            <a:off x="3752584" y="4736170"/>
            <a:ext cx="7921005" cy="1628563"/>
            <a:chOff x="3752584" y="4736170"/>
            <a:chExt cx="7921005" cy="1628563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5689F471-E160-BEEB-A054-544E13ED0B17}"/>
                </a:ext>
              </a:extLst>
            </p:cNvPr>
            <p:cNvSpPr txBox="1"/>
            <p:nvPr/>
          </p:nvSpPr>
          <p:spPr>
            <a:xfrm>
              <a:off x="3752584" y="5718402"/>
              <a:ext cx="552761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的还有以下英文说法：</a:t>
              </a:r>
              <a:endParaRPr lang="en-US" altLang="zh-CN" dirty="0"/>
            </a:p>
            <a:p>
              <a:r>
                <a:rPr lang="en-US" altLang="zh-CN" b="1" dirty="0">
                  <a:solidFill>
                    <a:srgbClr val="FF0000"/>
                  </a:solidFill>
                </a:rPr>
                <a:t>Attribut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properti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field, data member</a:t>
              </a:r>
            </a:p>
          </p:txBody>
        </p:sp>
        <p:cxnSp>
          <p:nvCxnSpPr>
            <p:cNvPr id="56" name="直接箭头连接符 55">
              <a:extLst>
                <a:ext uri="{FF2B5EF4-FFF2-40B4-BE49-F238E27FC236}">
                  <a16:creationId xmlns:a16="http://schemas.microsoft.com/office/drawing/2014/main" id="{48BCA420-AD9B-CCD5-C7EB-AA0840286B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52642" y="4736170"/>
              <a:ext cx="2392051" cy="982232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B05DCA76-539D-C601-84B0-CF609A355672}"/>
                </a:ext>
              </a:extLst>
            </p:cNvPr>
            <p:cNvSpPr txBox="1"/>
            <p:nvPr/>
          </p:nvSpPr>
          <p:spPr>
            <a:xfrm>
              <a:off x="9598507" y="5718402"/>
              <a:ext cx="207508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其它中文名称：</a:t>
              </a:r>
              <a:endParaRPr lang="en-US" altLang="zh-CN" dirty="0"/>
            </a:p>
            <a:p>
              <a:r>
                <a:rPr lang="zh-CN" altLang="en-US" b="1" dirty="0"/>
                <a:t>方法，成员函数</a:t>
              </a:r>
              <a:endParaRPr lang="en-US" altLang="zh-CN" b="1" dirty="0"/>
            </a:p>
          </p:txBody>
        </p:sp>
        <p:cxnSp>
          <p:nvCxnSpPr>
            <p:cNvPr id="61" name="直接箭头连接符 60">
              <a:extLst>
                <a:ext uri="{FF2B5EF4-FFF2-40B4-BE49-F238E27FC236}">
                  <a16:creationId xmlns:a16="http://schemas.microsoft.com/office/drawing/2014/main" id="{A337D654-FBE1-4773-1B16-402B37FA3229}"/>
                </a:ext>
              </a:extLst>
            </p:cNvPr>
            <p:cNvCxnSpPr>
              <a:cxnSpLocks/>
            </p:cNvCxnSpPr>
            <p:nvPr/>
          </p:nvCxnSpPr>
          <p:spPr>
            <a:xfrm>
              <a:off x="10330624" y="4736170"/>
              <a:ext cx="190435" cy="1047303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1A84FA76-3B90-552B-4FAE-2C2F7BF06FCD}"/>
              </a:ext>
            </a:extLst>
          </p:cNvPr>
          <p:cNvCxnSpPr>
            <a:cxnSpLocks/>
          </p:cNvCxnSpPr>
          <p:nvPr/>
        </p:nvCxnSpPr>
        <p:spPr>
          <a:xfrm>
            <a:off x="8644693" y="2492755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F87EED11-C528-9F73-F8D8-C6327E277FD4}"/>
              </a:ext>
            </a:extLst>
          </p:cNvPr>
          <p:cNvCxnSpPr>
            <a:cxnSpLocks/>
          </p:cNvCxnSpPr>
          <p:nvPr/>
        </p:nvCxnSpPr>
        <p:spPr>
          <a:xfrm>
            <a:off x="9902989" y="2492756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600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63CFE3"/>
      </a:accent1>
      <a:accent2>
        <a:srgbClr val="89DC65"/>
      </a:accent2>
      <a:accent3>
        <a:srgbClr val="EDDB00"/>
      </a:accent3>
      <a:accent4>
        <a:srgbClr val="F18A00"/>
      </a:accent4>
      <a:accent5>
        <a:srgbClr val="FFC000"/>
      </a:accent5>
      <a:accent6>
        <a:srgbClr val="999999"/>
      </a:accent6>
      <a:hlink>
        <a:srgbClr val="FFFFFF"/>
      </a:hlink>
      <a:folHlink>
        <a:srgbClr val="954F72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主题3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3" id="{E87A4C91-4822-4ADE-9AEF-C59EB1853CAA}" vid="{B2DDBFFB-3A8F-437B-9B78-E68B5A0531F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4435b5f9-a1a7-472c-9357-90ede2ba1ef5" origin="userSelected">
  <element uid="cc20cbce-588c-49bb-a695-6b3c03b314c4" value=""/>
</sis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CDD8537C503640905C0294021EED2B" ma:contentTypeVersion="10" ma:contentTypeDescription="Create a new document." ma:contentTypeScope="" ma:versionID="16ebc6ce161d0f2ee3c0e9e7330a32db">
  <xsd:schema xmlns:xsd="http://www.w3.org/2001/XMLSchema" xmlns:xs="http://www.w3.org/2001/XMLSchema" xmlns:p="http://schemas.microsoft.com/office/2006/metadata/properties" xmlns:ns2="6c8bfc86-784d-4543-b6ef-848085f5d899" xmlns:ns3="642f80c4-7f1c-43b1-ad7e-8f576f781e3b" targetNamespace="http://schemas.microsoft.com/office/2006/metadata/properties" ma:root="true" ma:fieldsID="b2e4a2fe31886a5e6d2672f83da0f6f3" ns2:_="" ns3:_="">
    <xsd:import namespace="6c8bfc86-784d-4543-b6ef-848085f5d899"/>
    <xsd:import namespace="642f80c4-7f1c-43b1-ad7e-8f576f781e3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Ye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bfc86-784d-4543-b6ef-848085f5d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f80c4-7f1c-43b1-ad7e-8f576f781e3b" elementFormDefault="qualified">
    <xsd:import namespace="http://schemas.microsoft.com/office/2006/documentManagement/types"/>
    <xsd:import namespace="http://schemas.microsoft.com/office/infopath/2007/PartnerControls"/>
    <xsd:element name="Year" ma:index="10" nillable="true" ma:displayName="Year" ma:decimals="0" ma:format="Dropdown" ma:internalName="Year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642f80c4-7f1c-43b1-ad7e-8f576f781e3b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4A5132-C8AD-4155-9B1C-92EF9016895F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ECF2F42-7607-4B00-9AA3-DAD0128DD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8bfc86-784d-4543-b6ef-848085f5d899"/>
    <ds:schemaRef ds:uri="642f80c4-7f1c-43b1-ad7e-8f576f781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8D9714-CED8-4F03-88CE-4B42AD8BA2AF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c8bfc86-784d-4543-b6ef-848085f5d89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42f80c4-7f1c-43b1-ad7e-8f576f781e3b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2AE2DF4-8052-4BEF-AA0D-B4A2A33B1F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605</TotalTime>
  <Words>355</Words>
  <Application>Microsoft Office PowerPoint</Application>
  <PresentationFormat>宽屏</PresentationFormat>
  <Paragraphs>109</Paragraphs>
  <Slides>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26" baseType="lpstr">
      <vt:lpstr>Coca-Cola Care Font KaiTi</vt:lpstr>
      <vt:lpstr>Microsoft JhengHei</vt:lpstr>
      <vt:lpstr>PingFang SC</vt:lpstr>
      <vt:lpstr>等线</vt:lpstr>
      <vt:lpstr>等线 Light</vt:lpstr>
      <vt:lpstr>可口可乐在乎体 楷体</vt:lpstr>
      <vt:lpstr>微软雅黑</vt:lpstr>
      <vt:lpstr>微软雅黑</vt:lpstr>
      <vt:lpstr>Arial</vt:lpstr>
      <vt:lpstr>Calibri</vt:lpstr>
      <vt:lpstr>Calibri Light</vt:lpstr>
      <vt:lpstr>Impact</vt:lpstr>
      <vt:lpstr>Poppins</vt:lpstr>
      <vt:lpstr>Trebuchet MS</vt:lpstr>
      <vt:lpstr>Office Theme</vt:lpstr>
      <vt:lpstr>1_Office Theme</vt:lpstr>
      <vt:lpstr>4_自定义设计方案</vt:lpstr>
      <vt:lpstr>主题3</vt:lpstr>
      <vt:lpstr>think-cell Slide</vt:lpstr>
      <vt:lpstr>OOP基本概念</vt:lpstr>
      <vt:lpstr>概念理解   - 抽象（Abstraction）</vt:lpstr>
      <vt:lpstr>抽象(Abstraction )        </vt:lpstr>
      <vt:lpstr>抽象(Abstraction</vt:lpstr>
      <vt:lpstr>抽象(Abstraction )   </vt:lpstr>
      <vt:lpstr>抽象(Abstraction )   </vt:lpstr>
      <vt:lpstr>抽象(Abstraction ) 、对象(Object)、类(Class) 关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Feng</dc:creator>
  <cp:lastModifiedBy>Chen Nianlai(陈年来)</cp:lastModifiedBy>
  <cp:revision>808</cp:revision>
  <dcterms:created xsi:type="dcterms:W3CDTF">2022-05-25T10:04:09Z</dcterms:created>
  <dcterms:modified xsi:type="dcterms:W3CDTF">2024-09-20T04:2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CDD8537C503640905C0294021EED2B</vt:lpwstr>
  </property>
  <property fmtid="{D5CDD505-2E9C-101B-9397-08002B2CF9AE}" pid="3" name="docIndexRef">
    <vt:lpwstr>b2f08121-282a-4b40-886e-3acb57e498f2</vt:lpwstr>
  </property>
  <property fmtid="{D5CDD505-2E9C-101B-9397-08002B2CF9AE}" pid="4" name="bjSaver">
    <vt:lpwstr>xLTV7zuHSkQoTi22QbtFccrcTURzXlK2</vt:lpwstr>
  </property>
  <property fmtid="{D5CDD505-2E9C-101B-9397-08002B2CF9AE}" pid="5" name="bjDocumentSecurityLabel">
    <vt:lpwstr>仅供内部使用</vt:lpwstr>
  </property>
  <property fmtid="{D5CDD505-2E9C-101B-9397-08002B2CF9AE}" pid="6" name="symc_label">
    <vt:lpwstr>DLP_仅供内部使用4Symc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4435b5f9-a1a7-472c-9357-90ede2ba1ef5" origin="userSelected" xmlns="http://www.boldonj</vt:lpwstr>
  </property>
  <property fmtid="{D5CDD505-2E9C-101B-9397-08002B2CF9AE}" pid="8" name="bjDocumentLabelXML-0">
    <vt:lpwstr>ames.com/2008/01/sie/internal/label"&gt;&lt;element uid="cc20cbce-588c-49bb-a695-6b3c03b314c4" value="" /&gt;&lt;/sisl&gt;</vt:lpwstr>
  </property>
  <property fmtid="{D5CDD505-2E9C-101B-9397-08002B2CF9AE}" pid="9" name="bjSlideMasterFooterText">
    <vt:lpwstr>仅供内部使用</vt:lpwstr>
  </property>
</Properties>
</file>